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  <p:sldId id="260" r:id="rId3"/>
    <p:sldId id="258" r:id="rId4"/>
    <p:sldId id="259" r:id="rId5"/>
    <p:sldId id="261" r:id="rId6"/>
    <p:sldId id="264" r:id="rId7"/>
    <p:sldId id="265" r:id="rId8"/>
    <p:sldId id="266" r:id="rId9"/>
    <p:sldId id="262" r:id="rId10"/>
    <p:sldId id="263" r:id="rId11"/>
  </p:sldIdLst>
  <p:sldSz cx="12192000" cy="6858000"/>
  <p:notesSz cx="6858000" cy="9144000"/>
  <p:defaultTextStyle>
    <a:defPPr>
      <a:defRPr lang="en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04" d="100"/>
          <a:sy n="104" d="100"/>
        </p:scale>
        <p:origin x="232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847AE-493E-AF39-430A-16D17EE880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D0C53B-4816-D78B-407C-2FCE6BD483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F9423-7C64-9F32-715B-6439EC3C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4A488-E93B-3FAA-1B58-FB1D8B08A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7E90-311C-AD58-1072-C2E01DD3F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59763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5CC1F-3F4C-7682-4D13-367595873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D6EBAA-03CC-FDC3-2E3C-0784E2BCD3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69502E-2C56-FBC9-F75D-0B31AFC08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182105-0585-0E3F-273D-9263CA127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80FD4-9DAD-F161-BB4C-CE946EE52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834651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3AE019-AD3B-FB19-F3C8-5DD759C62E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FFDD68-AA20-8BEE-6F24-7A9131B00B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4FC0-28D3-E64F-24AE-C5CC2225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B1A4C-09CB-8F44-9A67-772FA2CF5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18F04-3963-C95C-8A61-FE366B3DB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134135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06BA6-9AA0-76C2-BAF9-A2C7A3160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F86CF-918E-BA39-0AB8-F1CDAF388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D99EF9-4A06-9D0E-6EEA-67048EEE7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F0E6FD-9144-7562-2A9C-00276ADA7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CB0A4-A05B-8DA2-1592-6866BE33B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4894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861C8-876E-DEB2-F410-1C383529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28B4E-A5FB-43CA-CFC3-A71ED65CD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E80B1E-F0FE-D6D1-5F27-CCF0FBAD8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03FEF2-75EF-89AA-6909-043001E62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C5AB2-4F0E-F20E-030A-4411566E6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79075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B8E13-B66E-719A-27D9-19C90AC0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7468A6-430C-0774-674A-1955D3C393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265D08-15D9-BD92-CBF9-1D61140AE0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C9ECFF-1D7A-2024-7F40-BB4E1D40E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40BB42-501B-101D-D43D-CE776AA9B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46ADD9-D4C9-2021-3CD1-760B2F4F2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534349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0B455-DF3A-BDA6-D015-3F2EFCDEE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1F4DB0-85D7-9203-DA3D-C44EB34FB0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50A86-BB5E-6D0A-A5DD-C183B7E75A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3295A3-D700-B767-6EB9-24F09468F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D626AB-610C-13A4-C049-3E03DCCEB1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0450E9-9967-3BF4-A51B-8E4C955EF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025733-214B-5923-A97E-EF393187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0F4EA5-ACAE-7483-2D24-3D7823D8E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257951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40500-645F-5E97-280A-EE7CC76FF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8A8D4B-FAB8-F468-563B-7792DDBDE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AADE5A-5043-EE59-2AD4-68BBFEBB3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B3D04D-97C3-376D-3F49-44BD9C5C8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675094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756328-1836-3792-86E8-9907171C7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04F199-9AB6-C94B-BB10-152F603CE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4D674A-BC24-526B-EB4C-4089161E3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88206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8418E-72C4-48EB-9190-16A1E820D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692EF-029F-C3EB-6A7F-D490CAEAAD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C322B6-16D8-5A09-1CFA-79B9B5BB08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A84732-7861-1A6A-E466-3DE381EE1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2FC1E9-C65F-04C7-09E1-4E87C31A5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31B4F1-4BFC-B570-1003-BB3BE1EB2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005736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5E470-11DA-14C0-B8E1-7A6630679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907C9D-310F-D088-78F7-FE3A5E0CCD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B1AD1-1E0F-B82B-D793-88115C1AFE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94B5E4-17CC-F3F6-F687-F8F3CD161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DC217-FB78-6079-527E-A460C3341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1580F1-37A1-47F9-25B9-EF9C682E7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34813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BD8489-2596-3BFE-E480-FC090E1B4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6651C-35C5-4CF1-2AA9-0CF97DFE3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3175C4-72EF-767B-23F6-BC02196D1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853034-A2E7-1FDB-78AE-8D96712F8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E20C85-F0DC-65A7-B51C-9AE4D09C99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5398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tags" Target="../tags/tag5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tags" Target="../tags/tag4.xml"/><Relationship Id="rId16" Type="http://schemas.openxmlformats.org/officeDocument/2006/relationships/image" Target="../media/image23.png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tags" Target="../tags/tag6.xml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orner of an apartment building against a clear sky">
            <a:extLst>
              <a:ext uri="{FF2B5EF4-FFF2-40B4-BE49-F238E27FC236}">
                <a16:creationId xmlns:a16="http://schemas.microsoft.com/office/drawing/2014/main" id="{7C829737-8819-CA04-2B74-2368FC180B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14167" b="1563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8BB0C3-C43F-A504-DC59-53C411BE1B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900518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Utilizing Data Analytics to Help Home Buy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013F97-C5C3-2F5A-EDD7-2295FD9014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9404"/>
            <a:ext cx="9144000" cy="1098395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Mohammed Alsalamah</a:t>
            </a:r>
          </a:p>
        </p:txBody>
      </p:sp>
    </p:spTree>
    <p:extLst>
      <p:ext uri="{BB962C8B-B14F-4D97-AF65-F5344CB8AC3E}">
        <p14:creationId xmlns:p14="http://schemas.microsoft.com/office/powerpoint/2010/main" val="4094120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25D19-8407-1813-91CF-374751B94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3200" dirty="0"/>
              <a:t>We are able to narrow down search results by 90%+ without producing any false negatives!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FFCBD07-BB30-733B-E63B-A38269300681}"/>
              </a:ext>
            </a:extLst>
          </p:cNvPr>
          <p:cNvSpPr/>
          <p:nvPr/>
        </p:nvSpPr>
        <p:spPr>
          <a:xfrm>
            <a:off x="1717589" y="1841157"/>
            <a:ext cx="741406" cy="42630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243250-004B-3138-EA06-BB8EA2A19125}"/>
              </a:ext>
            </a:extLst>
          </p:cNvPr>
          <p:cNvCxnSpPr>
            <a:cxnSpLocks/>
          </p:cNvCxnSpPr>
          <p:nvPr/>
        </p:nvCxnSpPr>
        <p:spPr>
          <a:xfrm>
            <a:off x="1346886" y="1841157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42C13E-E0A5-9026-E1AC-E6CEDB4BACCD}"/>
              </a:ext>
            </a:extLst>
          </p:cNvPr>
          <p:cNvCxnSpPr>
            <a:cxnSpLocks/>
          </p:cNvCxnSpPr>
          <p:nvPr/>
        </p:nvCxnSpPr>
        <p:spPr>
          <a:xfrm>
            <a:off x="1223318" y="5305173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DAC28BA-0529-A875-1775-8B9CFCF41D82}"/>
              </a:ext>
            </a:extLst>
          </p:cNvPr>
          <p:cNvSpPr txBox="1"/>
          <p:nvPr/>
        </p:nvSpPr>
        <p:spPr>
          <a:xfrm>
            <a:off x="887629" y="1769890"/>
            <a:ext cx="617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7k</a:t>
            </a:r>
            <a:endParaRPr lang="en-SA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75568E-C27D-FCD9-C9CA-1AC9D6FA7B02}"/>
              </a:ext>
            </a:extLst>
          </p:cNvPr>
          <p:cNvSpPr txBox="1"/>
          <p:nvPr/>
        </p:nvSpPr>
        <p:spPr>
          <a:xfrm>
            <a:off x="642552" y="5236079"/>
            <a:ext cx="741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&gt;1k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D3C4DDC-A6B1-8A14-F365-D1AA49033976}"/>
              </a:ext>
            </a:extLst>
          </p:cNvPr>
          <p:cNvSpPr/>
          <p:nvPr/>
        </p:nvSpPr>
        <p:spPr>
          <a:xfrm>
            <a:off x="1696994" y="5276340"/>
            <a:ext cx="762001" cy="82789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B736AC-175B-A251-74AD-1FE52131D273}"/>
              </a:ext>
            </a:extLst>
          </p:cNvPr>
          <p:cNvSpPr txBox="1"/>
          <p:nvPr/>
        </p:nvSpPr>
        <p:spPr>
          <a:xfrm>
            <a:off x="2656703" y="3429000"/>
            <a:ext cx="1532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Search results in Aqar.co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720D0C-979C-19BB-DF1F-D466AC03EF4A}"/>
              </a:ext>
            </a:extLst>
          </p:cNvPr>
          <p:cNvSpPr txBox="1"/>
          <p:nvPr/>
        </p:nvSpPr>
        <p:spPr>
          <a:xfrm>
            <a:off x="2656703" y="5457907"/>
            <a:ext cx="515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</a:t>
            </a:r>
            <a:r>
              <a:rPr lang="en-SA" dirty="0"/>
              <a:t>earch results when using our additional filters &amp; filtering for Good and Great deals only</a:t>
            </a:r>
          </a:p>
        </p:txBody>
      </p:sp>
    </p:spTree>
    <p:extLst>
      <p:ext uri="{BB962C8B-B14F-4D97-AF65-F5344CB8AC3E}">
        <p14:creationId xmlns:p14="http://schemas.microsoft.com/office/powerpoint/2010/main" val="1707961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E7B0B8-631B-C01F-8202-95BD1F24D0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0076" y="1825625"/>
            <a:ext cx="9203724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SA" b="1" dirty="0"/>
              <a:t>Motivation &amp; goals</a:t>
            </a:r>
          </a:p>
          <a:p>
            <a:pPr marL="0" indent="0">
              <a:buNone/>
            </a:pPr>
            <a:endParaRPr lang="en-SA" b="1" dirty="0"/>
          </a:p>
          <a:p>
            <a:pPr marL="0" indent="0">
              <a:buNone/>
            </a:pPr>
            <a:r>
              <a:rPr lang="en-SA" b="1" dirty="0">
                <a:solidFill>
                  <a:schemeClr val="bg2">
                    <a:lumMod val="50000"/>
                  </a:schemeClr>
                </a:solidFill>
              </a:rPr>
              <a:t>Deliverables</a:t>
            </a:r>
          </a:p>
          <a:p>
            <a:pPr marL="457200" lvl="1" indent="0">
              <a:buNone/>
            </a:pPr>
            <a:r>
              <a:rPr lang="en-SA" sz="2800" dirty="0">
                <a:solidFill>
                  <a:schemeClr val="bg2">
                    <a:lumMod val="50000"/>
                  </a:schemeClr>
                </a:solidFill>
              </a:rPr>
              <a:t>Data set</a:t>
            </a:r>
          </a:p>
          <a:p>
            <a:pPr marL="457200" lvl="1" indent="0">
              <a:buNone/>
            </a:pPr>
            <a:r>
              <a:rPr lang="en-SA" sz="2800" dirty="0">
                <a:solidFill>
                  <a:schemeClr val="bg2">
                    <a:lumMod val="50000"/>
                  </a:schemeClr>
                </a:solidFill>
              </a:rPr>
              <a:t>Analytics Dashboard</a:t>
            </a:r>
          </a:p>
          <a:p>
            <a:pPr marL="457200" lvl="1" indent="0">
              <a:buNone/>
            </a:pPr>
            <a:r>
              <a:rPr lang="en-SA" sz="2800" dirty="0">
                <a:solidFill>
                  <a:schemeClr val="bg2">
                    <a:lumMod val="50000"/>
                  </a:schemeClr>
                </a:solidFill>
              </a:rPr>
              <a:t>Deal Fairness Indicator</a:t>
            </a:r>
          </a:p>
          <a:p>
            <a:pPr marL="0" indent="0">
              <a:buNone/>
            </a:pPr>
            <a:endParaRPr lang="en-SA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SA" b="1" dirty="0">
                <a:solidFill>
                  <a:schemeClr val="bg2">
                    <a:lumMod val="50000"/>
                  </a:schemeClr>
                </a:solidFill>
              </a:rPr>
              <a:t>Future work</a:t>
            </a:r>
          </a:p>
          <a:p>
            <a:pPr marL="0" indent="0">
              <a:buNone/>
            </a:pPr>
            <a:r>
              <a:rPr lang="en-SA" dirty="0">
                <a:solidFill>
                  <a:schemeClr val="bg2">
                    <a:lumMod val="50000"/>
                  </a:schemeClr>
                </a:solidFill>
              </a:rPr>
              <a:t>	Challenges &amp; limitations</a:t>
            </a:r>
          </a:p>
          <a:p>
            <a:pPr marL="0" indent="0">
              <a:buNone/>
            </a:pPr>
            <a:r>
              <a:rPr lang="en-SA" dirty="0">
                <a:solidFill>
                  <a:schemeClr val="bg2">
                    <a:lumMod val="50000"/>
                  </a:schemeClr>
                </a:solidFill>
              </a:rPr>
              <a:t>	Next steps</a:t>
            </a:r>
          </a:p>
          <a:p>
            <a:pPr marL="0" indent="0">
              <a:buNone/>
            </a:pPr>
            <a:r>
              <a:rPr lang="en-SA" dirty="0">
                <a:solidFill>
                  <a:schemeClr val="bg2">
                    <a:lumMod val="50000"/>
                  </a:schemeClr>
                </a:solidFill>
              </a:rPr>
              <a:t>	</a:t>
            </a: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4568825"/>
            <a:ext cx="914400" cy="914400"/>
          </a:xfrm>
          <a:prstGeom prst="rect">
            <a:avLst/>
          </a:prstGeom>
        </p:spPr>
      </p:pic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2740025"/>
            <a:ext cx="914400" cy="914400"/>
          </a:xfrm>
          <a:prstGeom prst="rect">
            <a:avLst/>
          </a:prstGeom>
        </p:spPr>
      </p:pic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182562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957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984E6-0B5D-8BF6-88FE-5417A624D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On average, searching for a home takes more than 100 hours of active 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5951C4-1449-56A4-343F-96B0AD6145FC}"/>
              </a:ext>
            </a:extLst>
          </p:cNvPr>
          <p:cNvSpPr/>
          <p:nvPr/>
        </p:nvSpPr>
        <p:spPr>
          <a:xfrm>
            <a:off x="838200" y="1839310"/>
            <a:ext cx="2420007" cy="3607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screensho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73A20F0-86CB-52D8-253F-990FA31AE76C}"/>
              </a:ext>
            </a:extLst>
          </p:cNvPr>
          <p:cNvSpPr/>
          <p:nvPr/>
        </p:nvSpPr>
        <p:spPr>
          <a:xfrm>
            <a:off x="838200" y="5495432"/>
            <a:ext cx="3016469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Understand your options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FD3CA86F-8F0F-2D18-7754-BCFE5E29D1C1}"/>
              </a:ext>
            </a:extLst>
          </p:cNvPr>
          <p:cNvSpPr/>
          <p:nvPr/>
        </p:nvSpPr>
        <p:spPr>
          <a:xfrm>
            <a:off x="3996558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A569C28-E294-A917-EDEA-35EC177DB8D3}"/>
              </a:ext>
            </a:extLst>
          </p:cNvPr>
          <p:cNvSpPr/>
          <p:nvPr/>
        </p:nvSpPr>
        <p:spPr>
          <a:xfrm>
            <a:off x="5063357" y="5495432"/>
            <a:ext cx="2554014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Narrow down choices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A34138F-4E8B-17A1-FEF0-CA2CB1F5F9EA}"/>
              </a:ext>
            </a:extLst>
          </p:cNvPr>
          <p:cNvSpPr/>
          <p:nvPr/>
        </p:nvSpPr>
        <p:spPr>
          <a:xfrm>
            <a:off x="7759260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998540E-4CF9-A05B-926B-88BDCC775365}"/>
              </a:ext>
            </a:extLst>
          </p:cNvPr>
          <p:cNvSpPr/>
          <p:nvPr/>
        </p:nvSpPr>
        <p:spPr>
          <a:xfrm>
            <a:off x="8826059" y="5491654"/>
            <a:ext cx="2115206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Get adv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6DF782-99B8-AAE2-C779-7A5C09B205D2}"/>
              </a:ext>
            </a:extLst>
          </p:cNvPr>
          <p:cNvSpPr txBox="1"/>
          <p:nvPr/>
        </p:nvSpPr>
        <p:spPr>
          <a:xfrm>
            <a:off x="3996558" y="1933903"/>
            <a:ext cx="4096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1000s of lis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No fil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Must assess each listing manually</a:t>
            </a:r>
          </a:p>
        </p:txBody>
      </p:sp>
    </p:spTree>
    <p:extLst>
      <p:ext uri="{BB962C8B-B14F-4D97-AF65-F5344CB8AC3E}">
        <p14:creationId xmlns:p14="http://schemas.microsoft.com/office/powerpoint/2010/main" val="1128328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8A546-866E-8E2C-50A4-CCD632C16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3200" dirty="0"/>
              <a:t>Utilizing analytics tools and machine learning reduces search time by up to 50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0F6004-F248-6259-2032-9D2F8E88AFAF}"/>
              </a:ext>
            </a:extLst>
          </p:cNvPr>
          <p:cNvSpPr txBox="1"/>
          <p:nvPr/>
        </p:nvSpPr>
        <p:spPr>
          <a:xfrm>
            <a:off x="4763815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Approach </a:t>
            </a:r>
            <a:r>
              <a:rPr lang="en-SA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765E38-CDA7-DF49-68FD-34257D9E0241}"/>
              </a:ext>
            </a:extLst>
          </p:cNvPr>
          <p:cNvSpPr txBox="1"/>
          <p:nvPr/>
        </p:nvSpPr>
        <p:spPr>
          <a:xfrm>
            <a:off x="9398877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Example</a:t>
            </a:r>
            <a:r>
              <a:rPr lang="en-SA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549BC5-CB9E-A2C7-B839-A36DF5F50EED}"/>
              </a:ext>
            </a:extLst>
          </p:cNvPr>
          <p:cNvSpPr txBox="1"/>
          <p:nvPr/>
        </p:nvSpPr>
        <p:spPr>
          <a:xfrm>
            <a:off x="1761967" y="2275540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ain insight into 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16FA0F-044D-BDC4-77C1-F7496B8C97E6}"/>
              </a:ext>
            </a:extLst>
          </p:cNvPr>
          <p:cNvSpPr txBox="1"/>
          <p:nvPr/>
        </p:nvSpPr>
        <p:spPr>
          <a:xfrm>
            <a:off x="1761967" y="3785460"/>
            <a:ext cx="1728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Narrow down op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AC8F04-EEC4-D7E3-D947-BB30E61EE1A5}"/>
              </a:ext>
            </a:extLst>
          </p:cNvPr>
          <p:cNvSpPr txBox="1"/>
          <p:nvPr/>
        </p:nvSpPr>
        <p:spPr>
          <a:xfrm>
            <a:off x="4832024" y="2314995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Develop analytical dashboar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01EBDE-4929-8921-28D1-105F650ABA1A}"/>
              </a:ext>
            </a:extLst>
          </p:cNvPr>
          <p:cNvSpPr txBox="1"/>
          <p:nvPr/>
        </p:nvSpPr>
        <p:spPr>
          <a:xfrm>
            <a:off x="4832024" y="3785459"/>
            <a:ext cx="1784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Price fairness indicator</a:t>
            </a:r>
          </a:p>
        </p:txBody>
      </p:sp>
      <p:pic>
        <p:nvPicPr>
          <p:cNvPr id="13" name="Picture 12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D6C13EAA-6CA5-AAA6-F187-4412F8380C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35" t="24533"/>
          <a:stretch/>
        </p:blipFill>
        <p:spPr>
          <a:xfrm>
            <a:off x="8033461" y="2072020"/>
            <a:ext cx="3362823" cy="11322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1D8114C-B856-4ECA-CE77-EF41EFEF62F7}"/>
              </a:ext>
            </a:extLst>
          </p:cNvPr>
          <p:cNvSpPr txBox="1"/>
          <p:nvPr/>
        </p:nvSpPr>
        <p:spPr>
          <a:xfrm>
            <a:off x="7923954" y="3646960"/>
            <a:ext cx="33486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reat deal! This apartment is listed at 10% lower than its fair value.</a:t>
            </a:r>
          </a:p>
        </p:txBody>
      </p:sp>
      <p:pic>
        <p:nvPicPr>
          <p:cNvPr id="16" name="Graphic 15" descr="Filter outline">
            <a:extLst>
              <a:ext uri="{FF2B5EF4-FFF2-40B4-BE49-F238E27FC236}">
                <a16:creationId xmlns:a16="http://schemas.microsoft.com/office/drawing/2014/main" id="{1A7C3468-ABC4-705F-A634-645D9E39D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385" y="3651425"/>
            <a:ext cx="733376" cy="914400"/>
          </a:xfrm>
          <a:prstGeom prst="rect">
            <a:avLst/>
          </a:prstGeom>
        </p:spPr>
      </p:pic>
      <p:pic>
        <p:nvPicPr>
          <p:cNvPr id="20" name="Graphic 19" descr="Lights On with solid fill">
            <a:extLst>
              <a:ext uri="{FF2B5EF4-FFF2-40B4-BE49-F238E27FC236}">
                <a16:creationId xmlns:a16="http://schemas.microsoft.com/office/drawing/2014/main" id="{53965650-47CD-CBA6-6B01-B6F8F6BD6A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5717" y="2180961"/>
            <a:ext cx="736477" cy="9144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4F7665E-777A-4B8F-C06F-DAAD5B507681}"/>
              </a:ext>
            </a:extLst>
          </p:cNvPr>
          <p:cNvGrpSpPr/>
          <p:nvPr/>
        </p:nvGrpSpPr>
        <p:grpSpPr>
          <a:xfrm>
            <a:off x="1761967" y="1702688"/>
            <a:ext cx="1526628" cy="369332"/>
            <a:chOff x="1761967" y="1702688"/>
            <a:chExt cx="1526628" cy="3693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01D52DE-4779-3692-8848-C83E831DCAE6}"/>
                </a:ext>
              </a:extLst>
            </p:cNvPr>
            <p:cNvSpPr txBox="1"/>
            <p:nvPr/>
          </p:nvSpPr>
          <p:spPr>
            <a:xfrm>
              <a:off x="1761967" y="1702688"/>
              <a:ext cx="15266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A" b="1" dirty="0"/>
                <a:t>Goal</a:t>
              </a:r>
              <a:r>
                <a:rPr lang="en-SA" dirty="0"/>
                <a:t> 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45EAAB5-2306-2CAD-DFD4-F14674430977}"/>
                </a:ext>
              </a:extLst>
            </p:cNvPr>
            <p:cNvCxnSpPr/>
            <p:nvPr/>
          </p:nvCxnSpPr>
          <p:spPr>
            <a:xfrm>
              <a:off x="1825027" y="2007470"/>
              <a:ext cx="131947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3020CA-888A-F6B9-7C6B-839775922957}"/>
              </a:ext>
            </a:extLst>
          </p:cNvPr>
          <p:cNvCxnSpPr/>
          <p:nvPr/>
        </p:nvCxnSpPr>
        <p:spPr>
          <a:xfrm>
            <a:off x="9461937" y="1983470"/>
            <a:ext cx="131947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EF5A6B3-7EDB-818B-AC5A-BBF0945A5EE4}"/>
              </a:ext>
            </a:extLst>
          </p:cNvPr>
          <p:cNvCxnSpPr/>
          <p:nvPr/>
        </p:nvCxnSpPr>
        <p:spPr>
          <a:xfrm>
            <a:off x="4832024" y="1995470"/>
            <a:ext cx="131947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0552961-FBFA-097B-086D-FA7ADBC3F5EF}"/>
              </a:ext>
            </a:extLst>
          </p:cNvPr>
          <p:cNvCxnSpPr>
            <a:cxnSpLocks/>
          </p:cNvCxnSpPr>
          <p:nvPr/>
        </p:nvCxnSpPr>
        <p:spPr>
          <a:xfrm>
            <a:off x="919385" y="3457275"/>
            <a:ext cx="62682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CE0B8A4-D950-3B0C-55BE-A87BD0B4CD13}"/>
              </a:ext>
            </a:extLst>
          </p:cNvPr>
          <p:cNvCxnSpPr>
            <a:cxnSpLocks/>
          </p:cNvCxnSpPr>
          <p:nvPr/>
        </p:nvCxnSpPr>
        <p:spPr>
          <a:xfrm flipV="1">
            <a:off x="7550127" y="1497307"/>
            <a:ext cx="0" cy="4576304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2233781-60ED-00A1-AB46-CDA36DF7EBD1}"/>
              </a:ext>
            </a:extLst>
          </p:cNvPr>
          <p:cNvCxnSpPr>
            <a:cxnSpLocks/>
          </p:cNvCxnSpPr>
          <p:nvPr/>
        </p:nvCxnSpPr>
        <p:spPr>
          <a:xfrm>
            <a:off x="7751621" y="3457275"/>
            <a:ext cx="3851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0427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E7B0B8-631B-C01F-8202-95BD1F24D0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0076" y="1825625"/>
            <a:ext cx="9203724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SA" b="1" dirty="0">
                <a:solidFill>
                  <a:schemeClr val="bg2">
                    <a:lumMod val="50000"/>
                  </a:schemeClr>
                </a:solidFill>
              </a:rPr>
              <a:t>Motivation &amp; goals</a:t>
            </a:r>
          </a:p>
          <a:p>
            <a:pPr marL="0" indent="0">
              <a:buNone/>
            </a:pPr>
            <a:endParaRPr lang="en-SA" b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SA" b="1" dirty="0"/>
              <a:t>Deliverables</a:t>
            </a:r>
          </a:p>
          <a:p>
            <a:pPr marL="457200" lvl="1" indent="0">
              <a:buNone/>
            </a:pPr>
            <a:r>
              <a:rPr lang="en-SA" sz="2800" dirty="0"/>
              <a:t>Data set</a:t>
            </a:r>
          </a:p>
          <a:p>
            <a:pPr marL="457200" lvl="1" indent="0">
              <a:buNone/>
            </a:pPr>
            <a:r>
              <a:rPr lang="en-SA" sz="2800" dirty="0"/>
              <a:t>Analytics Dashboard</a:t>
            </a:r>
          </a:p>
          <a:p>
            <a:pPr marL="457200" lvl="1" indent="0">
              <a:buNone/>
            </a:pPr>
            <a:r>
              <a:rPr lang="en-SA" sz="2800" dirty="0"/>
              <a:t>Deal Fairness Indicator</a:t>
            </a:r>
          </a:p>
          <a:p>
            <a:pPr marL="0" indent="0">
              <a:buNone/>
            </a:pPr>
            <a:endParaRPr lang="en-SA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SA" b="1" dirty="0">
                <a:solidFill>
                  <a:schemeClr val="bg2">
                    <a:lumMod val="50000"/>
                  </a:schemeClr>
                </a:solidFill>
              </a:rPr>
              <a:t>Future work</a:t>
            </a:r>
          </a:p>
          <a:p>
            <a:pPr marL="0" indent="0">
              <a:buNone/>
            </a:pPr>
            <a:r>
              <a:rPr lang="en-SA" dirty="0">
                <a:solidFill>
                  <a:schemeClr val="bg2">
                    <a:lumMod val="50000"/>
                  </a:schemeClr>
                </a:solidFill>
              </a:rPr>
              <a:t>	Challenges &amp; limitations</a:t>
            </a:r>
          </a:p>
          <a:p>
            <a:pPr marL="0" indent="0">
              <a:buNone/>
            </a:pPr>
            <a:r>
              <a:rPr lang="en-SA" dirty="0">
                <a:solidFill>
                  <a:schemeClr val="bg2">
                    <a:lumMod val="50000"/>
                  </a:schemeClr>
                </a:solidFill>
              </a:rPr>
              <a:t>	Next steps</a:t>
            </a:r>
          </a:p>
          <a:p>
            <a:pPr marL="0" indent="0">
              <a:buNone/>
            </a:pPr>
            <a:r>
              <a:rPr lang="en-SA" dirty="0"/>
              <a:t>	</a:t>
            </a: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4568825"/>
            <a:ext cx="914400" cy="914400"/>
          </a:xfrm>
          <a:prstGeom prst="rect">
            <a:avLst/>
          </a:prstGeom>
        </p:spPr>
      </p:pic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2740025"/>
            <a:ext cx="914400" cy="914400"/>
          </a:xfrm>
          <a:prstGeom prst="rect">
            <a:avLst/>
          </a:prstGeom>
        </p:spPr>
      </p:pic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182562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356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7183A-66FE-B898-B5E1-8B77686B5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924"/>
          </a:xfrm>
        </p:spPr>
        <p:txBody>
          <a:bodyPr>
            <a:normAutofit fontScale="90000"/>
          </a:bodyPr>
          <a:lstStyle/>
          <a:p>
            <a:r>
              <a:rPr lang="en-SA" sz="2400" dirty="0"/>
              <a:t>We gathered data of the majority of apartments currently listed for sale in Riyadh, amounting to 7000+ apartmen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004AE6-034F-484D-8DDA-CF348B6E686D}"/>
              </a:ext>
            </a:extLst>
          </p:cNvPr>
          <p:cNvGrpSpPr/>
          <p:nvPr/>
        </p:nvGrpSpPr>
        <p:grpSpPr>
          <a:xfrm>
            <a:off x="3410739" y="1159581"/>
            <a:ext cx="3024000" cy="166199"/>
            <a:chOff x="821678" y="3484400"/>
            <a:chExt cx="11776724" cy="166199"/>
          </a:xfrm>
        </p:grpSpPr>
        <p:sp>
          <p:nvSpPr>
            <p:cNvPr id="11" name="Rectangle 59">
              <a:extLst>
                <a:ext uri="{FF2B5EF4-FFF2-40B4-BE49-F238E27FC236}">
                  <a16:creationId xmlns:a16="http://schemas.microsoft.com/office/drawing/2014/main" id="{3004701E-BA15-4837-EC53-5400E9D7FEC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821678" y="3484400"/>
              <a:ext cx="11776724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Attributes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2" name="Line 60">
              <a:extLst>
                <a:ext uri="{FF2B5EF4-FFF2-40B4-BE49-F238E27FC236}">
                  <a16:creationId xmlns:a16="http://schemas.microsoft.com/office/drawing/2014/main" id="{53BD6721-6356-08F3-47B1-3CDAF3D6382F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821678" y="3650599"/>
              <a:ext cx="11776724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0882325-7F54-787B-7BDB-963A363B04FF}"/>
              </a:ext>
            </a:extLst>
          </p:cNvPr>
          <p:cNvGrpSpPr/>
          <p:nvPr/>
        </p:nvGrpSpPr>
        <p:grpSpPr>
          <a:xfrm>
            <a:off x="383054" y="2267054"/>
            <a:ext cx="11141371" cy="526461"/>
            <a:chOff x="383057" y="2865438"/>
            <a:chExt cx="11141371" cy="88865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1B5CDB-85DA-2885-2B77-78B1629EB746}"/>
                </a:ext>
              </a:extLst>
            </p:cNvPr>
            <p:cNvSpPr/>
            <p:nvPr/>
          </p:nvSpPr>
          <p:spPr>
            <a:xfrm>
              <a:off x="383060" y="2865438"/>
              <a:ext cx="1791730" cy="7089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Area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1D8B626-2075-1192-4C45-BB010969C671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7" y="3754088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4007716-5A08-5ACA-C467-CB0BDAFA06BC}"/>
              </a:ext>
            </a:extLst>
          </p:cNvPr>
          <p:cNvGrpSpPr/>
          <p:nvPr/>
        </p:nvGrpSpPr>
        <p:grpSpPr>
          <a:xfrm>
            <a:off x="383055" y="3240138"/>
            <a:ext cx="11141371" cy="509379"/>
            <a:chOff x="383058" y="3911644"/>
            <a:chExt cx="11141371" cy="8598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E2CA60E-D719-30E6-26B1-CAF996ED670D}"/>
                </a:ext>
              </a:extLst>
            </p:cNvPr>
            <p:cNvSpPr/>
            <p:nvPr/>
          </p:nvSpPr>
          <p:spPr>
            <a:xfrm>
              <a:off x="383059" y="3911644"/>
              <a:ext cx="1791731" cy="7089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Location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E7192D-67F1-CD55-1EFD-E1D55EF45976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8" y="4771461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F5E467E-EE12-1AE7-A09D-DF16AE51EBA5}"/>
              </a:ext>
            </a:extLst>
          </p:cNvPr>
          <p:cNvGrpSpPr/>
          <p:nvPr/>
        </p:nvGrpSpPr>
        <p:grpSpPr>
          <a:xfrm>
            <a:off x="383057" y="4521496"/>
            <a:ext cx="11141371" cy="518885"/>
            <a:chOff x="383059" y="4900614"/>
            <a:chExt cx="11141371" cy="87586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D942B60-BCB5-89B9-D685-B6A7F312B0E4}"/>
                </a:ext>
              </a:extLst>
            </p:cNvPr>
            <p:cNvSpPr/>
            <p:nvPr/>
          </p:nvSpPr>
          <p:spPr>
            <a:xfrm>
              <a:off x="383059" y="4900614"/>
              <a:ext cx="1791731" cy="7089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Features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00415DA-4918-95D1-871D-A38F94F716DF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9" y="5776477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63D12C4-1430-12DB-4D9F-FDCD0AB93260}"/>
              </a:ext>
            </a:extLst>
          </p:cNvPr>
          <p:cNvGrpSpPr/>
          <p:nvPr/>
        </p:nvGrpSpPr>
        <p:grpSpPr>
          <a:xfrm>
            <a:off x="383059" y="1396609"/>
            <a:ext cx="11141369" cy="595398"/>
            <a:chOff x="383059" y="1613324"/>
            <a:chExt cx="11141371" cy="109455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12B170F-79C9-80C6-00E5-53F448B6FC57}"/>
                </a:ext>
              </a:extLst>
            </p:cNvPr>
            <p:cNvSpPr/>
            <p:nvPr/>
          </p:nvSpPr>
          <p:spPr>
            <a:xfrm>
              <a:off x="383060" y="1828800"/>
              <a:ext cx="1791730" cy="7089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Floor Plan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69DC4AC-8F4D-164B-ED4B-C50FBEFE9B91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9" y="2707883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0FF6B9B-9EB7-AF8F-39C2-8CA9A54184F1}"/>
                </a:ext>
              </a:extLst>
            </p:cNvPr>
            <p:cNvSpPr txBox="1"/>
            <p:nvPr/>
          </p:nvSpPr>
          <p:spPr>
            <a:xfrm>
              <a:off x="3410740" y="1613324"/>
              <a:ext cx="3024001" cy="5027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SA" sz="1200" dirty="0"/>
                <a:t># Bedroom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SA" sz="1200" dirty="0"/>
                <a:t># Bathroom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D5F3B37-47B4-4525-3AFB-DD1EE78FCDAB}"/>
              </a:ext>
            </a:extLst>
          </p:cNvPr>
          <p:cNvGrpSpPr/>
          <p:nvPr/>
        </p:nvGrpSpPr>
        <p:grpSpPr>
          <a:xfrm>
            <a:off x="383056" y="5400000"/>
            <a:ext cx="11141371" cy="518885"/>
            <a:chOff x="383059" y="4900614"/>
            <a:chExt cx="11141371" cy="87586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0A28F52-5AD3-82A2-B208-6E6D23AE576F}"/>
                </a:ext>
              </a:extLst>
            </p:cNvPr>
            <p:cNvSpPr/>
            <p:nvPr/>
          </p:nvSpPr>
          <p:spPr>
            <a:xfrm>
              <a:off x="383059" y="4900614"/>
              <a:ext cx="1791731" cy="7089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Features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2226F00-0656-9934-B7CF-CA28E3F65592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9" y="5776477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A705D83-102D-A643-65D0-E06D692605B7}"/>
              </a:ext>
            </a:extLst>
          </p:cNvPr>
          <p:cNvGrpSpPr/>
          <p:nvPr/>
        </p:nvGrpSpPr>
        <p:grpSpPr>
          <a:xfrm>
            <a:off x="383055" y="6133856"/>
            <a:ext cx="11141371" cy="518885"/>
            <a:chOff x="383059" y="4900614"/>
            <a:chExt cx="11141371" cy="87586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6F71CB0-AA01-FE81-5A02-BA76534EF4D5}"/>
                </a:ext>
              </a:extLst>
            </p:cNvPr>
            <p:cNvSpPr/>
            <p:nvPr/>
          </p:nvSpPr>
          <p:spPr>
            <a:xfrm>
              <a:off x="383059" y="4900614"/>
              <a:ext cx="1791731" cy="7089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A" sz="1200" b="1" dirty="0">
                  <a:solidFill>
                    <a:srgbClr val="002060"/>
                  </a:solidFill>
                </a:rPr>
                <a:t>Feature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9942EB4-E509-BC72-4917-980ECDA68CBF}"/>
                </a:ext>
              </a:extLst>
            </p:cNvPr>
            <p:cNvCxnSpPr>
              <a:cxnSpLocks/>
            </p:cNvCxnSpPr>
            <p:nvPr/>
          </p:nvCxnSpPr>
          <p:spPr>
            <a:xfrm>
              <a:off x="383059" y="5776477"/>
              <a:ext cx="111413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4113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7183A-66FE-B898-B5E1-8B77686B5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924"/>
          </a:xfrm>
        </p:spPr>
        <p:txBody>
          <a:bodyPr>
            <a:normAutofit fontScale="90000"/>
          </a:bodyPr>
          <a:lstStyle/>
          <a:p>
            <a:r>
              <a:rPr lang="en-SA" sz="2400" dirty="0"/>
              <a:t>We gathered data of the majority of apartments currently listed for sale in Riyadh, amounting to 7000+ apartments</a:t>
            </a: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3004701E-BA15-4837-EC53-5400E9D7FEC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2000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Attribute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2" name="Line 60">
            <a:extLst>
              <a:ext uri="{FF2B5EF4-FFF2-40B4-BE49-F238E27FC236}">
                <a16:creationId xmlns:a16="http://schemas.microsoft.com/office/drawing/2014/main" id="{53BD6721-6356-08F3-47B1-3CDAF3D6382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072000" y="1335086"/>
            <a:ext cx="194484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1B5CDB-85DA-2885-2B77-78B1629EB746}"/>
              </a:ext>
            </a:extLst>
          </p:cNvPr>
          <p:cNvSpPr/>
          <p:nvPr/>
        </p:nvSpPr>
        <p:spPr>
          <a:xfrm>
            <a:off x="383057" y="22670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rea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D8B626-2075-1192-4C45-BB010969C671}"/>
              </a:ext>
            </a:extLst>
          </p:cNvPr>
          <p:cNvCxnSpPr>
            <a:cxnSpLocks/>
          </p:cNvCxnSpPr>
          <p:nvPr/>
        </p:nvCxnSpPr>
        <p:spPr>
          <a:xfrm>
            <a:off x="383054" y="2793515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12B170F-79C9-80C6-00E5-53F448B6FC57}"/>
              </a:ext>
            </a:extLst>
          </p:cNvPr>
          <p:cNvSpPr/>
          <p:nvPr/>
        </p:nvSpPr>
        <p:spPr>
          <a:xfrm>
            <a:off x="383060" y="15138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Floor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DC4AC-8F4D-164B-ED4B-C50FBEFE9B91}"/>
              </a:ext>
            </a:extLst>
          </p:cNvPr>
          <p:cNvCxnSpPr>
            <a:cxnSpLocks/>
          </p:cNvCxnSpPr>
          <p:nvPr/>
        </p:nvCxnSpPr>
        <p:spPr>
          <a:xfrm>
            <a:off x="383059" y="1992006"/>
            <a:ext cx="80813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0FF6B9B-9EB7-AF8F-39C2-8CA9A54184F1}"/>
              </a:ext>
            </a:extLst>
          </p:cNvPr>
          <p:cNvSpPr txBox="1"/>
          <p:nvPr/>
        </p:nvSpPr>
        <p:spPr>
          <a:xfrm>
            <a:off x="2977980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athroo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B1295-F4CB-4AD1-AE09-23FC6936A86D}"/>
              </a:ext>
            </a:extLst>
          </p:cNvPr>
          <p:cNvSpPr/>
          <p:nvPr/>
        </p:nvSpPr>
        <p:spPr>
          <a:xfrm>
            <a:off x="383057" y="38362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Features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0A1BD9-9376-DF5C-C2FF-4A7400C1420B}"/>
              </a:ext>
            </a:extLst>
          </p:cNvPr>
          <p:cNvCxnSpPr>
            <a:cxnSpLocks/>
          </p:cNvCxnSpPr>
          <p:nvPr/>
        </p:nvCxnSpPr>
        <p:spPr>
          <a:xfrm>
            <a:off x="383054" y="4362746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7BC3EF2-CF38-B392-91D9-C42CCFD8F27F}"/>
              </a:ext>
            </a:extLst>
          </p:cNvPr>
          <p:cNvSpPr/>
          <p:nvPr/>
        </p:nvSpPr>
        <p:spPr>
          <a:xfrm>
            <a:off x="383060" y="30830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Loca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031DAB-46B0-78DA-2C31-55715B863FAB}"/>
              </a:ext>
            </a:extLst>
          </p:cNvPr>
          <p:cNvCxnSpPr>
            <a:cxnSpLocks/>
          </p:cNvCxnSpPr>
          <p:nvPr/>
        </p:nvCxnSpPr>
        <p:spPr>
          <a:xfrm>
            <a:off x="383059" y="3561237"/>
            <a:ext cx="8081319" cy="158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DD3D68A-CB85-D753-1109-3A2488A0244C}"/>
              </a:ext>
            </a:extLst>
          </p:cNvPr>
          <p:cNvSpPr/>
          <p:nvPr/>
        </p:nvSpPr>
        <p:spPr>
          <a:xfrm>
            <a:off x="383057" y="5401096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Online Pos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A41808D-F132-7DDE-37C3-A3B1F29A4E09}"/>
              </a:ext>
            </a:extLst>
          </p:cNvPr>
          <p:cNvCxnSpPr>
            <a:cxnSpLocks/>
          </p:cNvCxnSpPr>
          <p:nvPr/>
        </p:nvCxnSpPr>
        <p:spPr>
          <a:xfrm>
            <a:off x="383054" y="5927557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D39632E-7548-5D5E-A996-DD0727BA7C52}"/>
              </a:ext>
            </a:extLst>
          </p:cNvPr>
          <p:cNvSpPr/>
          <p:nvPr/>
        </p:nvSpPr>
        <p:spPr>
          <a:xfrm>
            <a:off x="383060" y="4647861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Build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68D53B-C25F-12CF-BDF6-39879D37A0BB}"/>
              </a:ext>
            </a:extLst>
          </p:cNvPr>
          <p:cNvCxnSpPr>
            <a:cxnSpLocks/>
          </p:cNvCxnSpPr>
          <p:nvPr/>
        </p:nvCxnSpPr>
        <p:spPr>
          <a:xfrm>
            <a:off x="383059" y="5126048"/>
            <a:ext cx="8081319" cy="202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BF58DD2-9709-4DBA-8A27-0744E8AA2BAB}"/>
              </a:ext>
            </a:extLst>
          </p:cNvPr>
          <p:cNvSpPr txBox="1"/>
          <p:nvPr/>
        </p:nvSpPr>
        <p:spPr>
          <a:xfrm>
            <a:off x="4769709" y="1513819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Living/Guest 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Has Kintche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D260D9-8F8B-C95A-A31C-6FA69C5DB2D9}"/>
              </a:ext>
            </a:extLst>
          </p:cNvPr>
          <p:cNvSpPr txBox="1"/>
          <p:nvPr/>
        </p:nvSpPr>
        <p:spPr>
          <a:xfrm>
            <a:off x="6870359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athroo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708F27-6F29-6C34-17EA-98AD773A0892}"/>
              </a:ext>
            </a:extLst>
          </p:cNvPr>
          <p:cNvSpPr txBox="1"/>
          <p:nvPr/>
        </p:nvSpPr>
        <p:spPr>
          <a:xfrm>
            <a:off x="2977980" y="311541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stri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Widt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9D9155A-C984-B541-8DFE-045A39E4262E}"/>
              </a:ext>
            </a:extLst>
          </p:cNvPr>
          <p:cNvSpPr txBox="1"/>
          <p:nvPr/>
        </p:nvSpPr>
        <p:spPr>
          <a:xfrm>
            <a:off x="4893280" y="3081858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Dir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titude &amp; Longitu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D833D7-AA4E-BC88-62FE-2669EECD5BF2}"/>
              </a:ext>
            </a:extLst>
          </p:cNvPr>
          <p:cNvSpPr txBox="1"/>
          <p:nvPr/>
        </p:nvSpPr>
        <p:spPr>
          <a:xfrm>
            <a:off x="2977980" y="387364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Kit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Furnish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2A1D7CD-8027-8A57-F313-58D99C711F6A}"/>
              </a:ext>
            </a:extLst>
          </p:cNvPr>
          <p:cNvSpPr txBox="1"/>
          <p:nvPr/>
        </p:nvSpPr>
        <p:spPr>
          <a:xfrm>
            <a:off x="4893280" y="384009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AC</a:t>
            </a:r>
          </a:p>
          <a:p>
            <a:endParaRPr lang="en-SA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DBBDA71-2CAA-748D-EF4A-46DDFEF6538C}"/>
              </a:ext>
            </a:extLst>
          </p:cNvPr>
          <p:cNvSpPr txBox="1"/>
          <p:nvPr/>
        </p:nvSpPr>
        <p:spPr>
          <a:xfrm>
            <a:off x="2977980" y="543845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I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C1B2660-039C-A2A4-4B37-277DA50CB0BC}"/>
              </a:ext>
            </a:extLst>
          </p:cNvPr>
          <p:cNvSpPr txBox="1"/>
          <p:nvPr/>
        </p:nvSpPr>
        <p:spPr>
          <a:xfrm>
            <a:off x="4893280" y="540490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Type (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Ra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C09BCB-E637-5302-DA91-90B64E184F43}"/>
              </a:ext>
            </a:extLst>
          </p:cNvPr>
          <p:cNvSpPr txBox="1"/>
          <p:nvPr/>
        </p:nvSpPr>
        <p:spPr>
          <a:xfrm>
            <a:off x="2977980" y="468464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partment Flo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E5ACFF0-75BD-C59C-E18D-22DED0AB6A8C}"/>
              </a:ext>
            </a:extLst>
          </p:cNvPr>
          <p:cNvSpPr txBox="1"/>
          <p:nvPr/>
        </p:nvSpPr>
        <p:spPr>
          <a:xfrm>
            <a:off x="2977980" y="2303558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rea (sqr. 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mension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E65FB0-360F-0FA2-5B60-08BE92325E7B}"/>
              </a:ext>
            </a:extLst>
          </p:cNvPr>
          <p:cNvSpPr txBox="1"/>
          <p:nvPr/>
        </p:nvSpPr>
        <p:spPr>
          <a:xfrm>
            <a:off x="4893280" y="2270005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ength:Width Rat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hape Regula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A9E5E5-8C82-B1A4-2535-18D7F746886C}"/>
              </a:ext>
            </a:extLst>
          </p:cNvPr>
          <p:cNvSpPr txBox="1"/>
          <p:nvPr/>
        </p:nvSpPr>
        <p:spPr>
          <a:xfrm>
            <a:off x="6993930" y="5421677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Time on Mar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st Upd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965DCD-6FE0-3413-1DE1-20ACCD6ACF52}"/>
              </a:ext>
            </a:extLst>
          </p:cNvPr>
          <p:cNvSpPr txBox="1"/>
          <p:nvPr/>
        </p:nvSpPr>
        <p:spPr>
          <a:xfrm>
            <a:off x="8909230" y="53881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D980CA3-6E76-9267-3C42-00604A953F26}"/>
              </a:ext>
            </a:extLst>
          </p:cNvPr>
          <p:cNvCxnSpPr>
            <a:cxnSpLocks/>
          </p:cNvCxnSpPr>
          <p:nvPr/>
        </p:nvCxnSpPr>
        <p:spPr>
          <a:xfrm>
            <a:off x="8810374" y="1335086"/>
            <a:ext cx="0" cy="4592471"/>
          </a:xfrm>
          <a:prstGeom prst="line">
            <a:avLst/>
          </a:prstGeom>
          <a:ln w="127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59">
            <a:extLst>
              <a:ext uri="{FF2B5EF4-FFF2-40B4-BE49-F238E27FC236}">
                <a16:creationId xmlns:a16="http://schemas.microsoft.com/office/drawing/2014/main" id="{AEAFD1E1-D13C-07DC-9E56-297E2A3F438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069146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Conclusion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83" name="Line 60">
            <a:extLst>
              <a:ext uri="{FF2B5EF4-FFF2-40B4-BE49-F238E27FC236}">
                <a16:creationId xmlns:a16="http://schemas.microsoft.com/office/drawing/2014/main" id="{EC53CF59-554C-48F3-D6C3-CC5490A37AA0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69146" y="1335086"/>
            <a:ext cx="181716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7D86399-F61E-534E-D0CC-E90131B1B98F}"/>
              </a:ext>
            </a:extLst>
          </p:cNvPr>
          <p:cNvSpPr txBox="1"/>
          <p:nvPr/>
        </p:nvSpPr>
        <p:spPr>
          <a:xfrm>
            <a:off x="9069146" y="1513819"/>
            <a:ext cx="20519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23+ gathered and engineered attributes for each a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Some attributes suffer greater levels of inaccuracy </a:t>
            </a:r>
          </a:p>
        </p:txBody>
      </p:sp>
      <p:pic>
        <p:nvPicPr>
          <p:cNvPr id="89" name="Graphic 88" descr="Check In with solid fill">
            <a:extLst>
              <a:ext uri="{FF2B5EF4-FFF2-40B4-BE49-F238E27FC236}">
                <a16:creationId xmlns:a16="http://schemas.microsoft.com/office/drawing/2014/main" id="{6EF6E5F4-905E-AAD9-B57C-2801026BA0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7496" y="5446032"/>
            <a:ext cx="370704" cy="370704"/>
          </a:xfrm>
          <a:prstGeom prst="rect">
            <a:avLst/>
          </a:prstGeom>
        </p:spPr>
      </p:pic>
      <p:pic>
        <p:nvPicPr>
          <p:cNvPr id="91" name="Graphic 90" descr="Ruler with solid fill">
            <a:extLst>
              <a:ext uri="{FF2B5EF4-FFF2-40B4-BE49-F238E27FC236}">
                <a16:creationId xmlns:a16="http://schemas.microsoft.com/office/drawing/2014/main" id="{B90CAAF9-A8EE-F764-993D-35A4E9C1CE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496" y="2306152"/>
            <a:ext cx="370704" cy="370704"/>
          </a:xfrm>
          <a:prstGeom prst="rect">
            <a:avLst/>
          </a:prstGeom>
        </p:spPr>
      </p:pic>
      <p:pic>
        <p:nvPicPr>
          <p:cNvPr id="93" name="Graphic 92" descr="Couch with solid fill">
            <a:extLst>
              <a:ext uri="{FF2B5EF4-FFF2-40B4-BE49-F238E27FC236}">
                <a16:creationId xmlns:a16="http://schemas.microsoft.com/office/drawing/2014/main" id="{DEF1E01E-7F21-7D87-5B0D-08CA39D05D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7496" y="3862190"/>
            <a:ext cx="370704" cy="370704"/>
          </a:xfrm>
          <a:prstGeom prst="rect">
            <a:avLst/>
          </a:prstGeom>
        </p:spPr>
      </p:pic>
      <p:pic>
        <p:nvPicPr>
          <p:cNvPr id="95" name="Graphic 94" descr="Marker with solid fill">
            <a:extLst>
              <a:ext uri="{FF2B5EF4-FFF2-40B4-BE49-F238E27FC236}">
                <a16:creationId xmlns:a16="http://schemas.microsoft.com/office/drawing/2014/main" id="{D3FE0013-3AE2-E5E0-89B8-D830D693C3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7496" y="3125315"/>
            <a:ext cx="370704" cy="370704"/>
          </a:xfrm>
          <a:prstGeom prst="rect">
            <a:avLst/>
          </a:prstGeom>
        </p:spPr>
      </p:pic>
      <p:pic>
        <p:nvPicPr>
          <p:cNvPr id="97" name="Graphic 96" descr="Building with solid fill">
            <a:extLst>
              <a:ext uri="{FF2B5EF4-FFF2-40B4-BE49-F238E27FC236}">
                <a16:creationId xmlns:a16="http://schemas.microsoft.com/office/drawing/2014/main" id="{76E7D82A-AEB4-8896-B4C9-772A1620A2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67496" y="4673466"/>
            <a:ext cx="370704" cy="370704"/>
          </a:xfrm>
          <a:prstGeom prst="rect">
            <a:avLst/>
          </a:prstGeom>
        </p:spPr>
      </p:pic>
      <p:pic>
        <p:nvPicPr>
          <p:cNvPr id="99" name="Graphic 98" descr="Drawing compass with solid fill">
            <a:extLst>
              <a:ext uri="{FF2B5EF4-FFF2-40B4-BE49-F238E27FC236}">
                <a16:creationId xmlns:a16="http://schemas.microsoft.com/office/drawing/2014/main" id="{CAA5C74D-4AEA-FAB8-6884-9AD4FFA2050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67496" y="1539540"/>
            <a:ext cx="370704" cy="37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633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7183A-66FE-B898-B5E1-8B77686B5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924"/>
          </a:xfrm>
        </p:spPr>
        <p:txBody>
          <a:bodyPr>
            <a:normAutofit fontScale="90000"/>
          </a:bodyPr>
          <a:lstStyle/>
          <a:p>
            <a:r>
              <a:rPr lang="en-SA" sz="2400" dirty="0"/>
              <a:t>We gathered data of the majority of apartments currently listed for sale in Riyadh, amounting to 7000+ apartments</a:t>
            </a: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3004701E-BA15-4837-EC53-5400E9D7FEC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2000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Attribute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2" name="Line 60">
            <a:extLst>
              <a:ext uri="{FF2B5EF4-FFF2-40B4-BE49-F238E27FC236}">
                <a16:creationId xmlns:a16="http://schemas.microsoft.com/office/drawing/2014/main" id="{53BD6721-6356-08F3-47B1-3CDAF3D6382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072000" y="1335086"/>
            <a:ext cx="302400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1B5CDB-85DA-2885-2B77-78B1629EB746}"/>
              </a:ext>
            </a:extLst>
          </p:cNvPr>
          <p:cNvSpPr/>
          <p:nvPr/>
        </p:nvSpPr>
        <p:spPr>
          <a:xfrm>
            <a:off x="383057" y="22670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rea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D8B626-2075-1192-4C45-BB010969C671}"/>
              </a:ext>
            </a:extLst>
          </p:cNvPr>
          <p:cNvCxnSpPr>
            <a:cxnSpLocks/>
          </p:cNvCxnSpPr>
          <p:nvPr/>
        </p:nvCxnSpPr>
        <p:spPr>
          <a:xfrm>
            <a:off x="383054" y="2793515"/>
            <a:ext cx="1114137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12B170F-79C9-80C6-00E5-53F448B6FC57}"/>
              </a:ext>
            </a:extLst>
          </p:cNvPr>
          <p:cNvSpPr/>
          <p:nvPr/>
        </p:nvSpPr>
        <p:spPr>
          <a:xfrm>
            <a:off x="383060" y="15138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Floor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DC4AC-8F4D-164B-ED4B-C50FBEFE9B91}"/>
              </a:ext>
            </a:extLst>
          </p:cNvPr>
          <p:cNvCxnSpPr>
            <a:cxnSpLocks/>
          </p:cNvCxnSpPr>
          <p:nvPr/>
        </p:nvCxnSpPr>
        <p:spPr>
          <a:xfrm>
            <a:off x="383059" y="1992006"/>
            <a:ext cx="111413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0FF6B9B-9EB7-AF8F-39C2-8CA9A54184F1}"/>
              </a:ext>
            </a:extLst>
          </p:cNvPr>
          <p:cNvSpPr txBox="1"/>
          <p:nvPr/>
        </p:nvSpPr>
        <p:spPr>
          <a:xfrm>
            <a:off x="2977980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athroo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B1295-F4CB-4AD1-AE09-23FC6936A86D}"/>
              </a:ext>
            </a:extLst>
          </p:cNvPr>
          <p:cNvSpPr/>
          <p:nvPr/>
        </p:nvSpPr>
        <p:spPr>
          <a:xfrm>
            <a:off x="383057" y="38362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Features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0A1BD9-9376-DF5C-C2FF-4A7400C1420B}"/>
              </a:ext>
            </a:extLst>
          </p:cNvPr>
          <p:cNvCxnSpPr>
            <a:cxnSpLocks/>
          </p:cNvCxnSpPr>
          <p:nvPr/>
        </p:nvCxnSpPr>
        <p:spPr>
          <a:xfrm>
            <a:off x="383054" y="4362746"/>
            <a:ext cx="1114137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7BC3EF2-CF38-B392-91D9-C42CCFD8F27F}"/>
              </a:ext>
            </a:extLst>
          </p:cNvPr>
          <p:cNvSpPr/>
          <p:nvPr/>
        </p:nvSpPr>
        <p:spPr>
          <a:xfrm>
            <a:off x="383060" y="30830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Loca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031DAB-46B0-78DA-2C31-55715B863FAB}"/>
              </a:ext>
            </a:extLst>
          </p:cNvPr>
          <p:cNvCxnSpPr>
            <a:cxnSpLocks/>
          </p:cNvCxnSpPr>
          <p:nvPr/>
        </p:nvCxnSpPr>
        <p:spPr>
          <a:xfrm>
            <a:off x="383059" y="3561237"/>
            <a:ext cx="111413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DD3D68A-CB85-D753-1109-3A2488A0244C}"/>
              </a:ext>
            </a:extLst>
          </p:cNvPr>
          <p:cNvSpPr/>
          <p:nvPr/>
        </p:nvSpPr>
        <p:spPr>
          <a:xfrm>
            <a:off x="383057" y="5401096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Online Pos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A41808D-F132-7DDE-37C3-A3B1F29A4E09}"/>
              </a:ext>
            </a:extLst>
          </p:cNvPr>
          <p:cNvCxnSpPr>
            <a:cxnSpLocks/>
          </p:cNvCxnSpPr>
          <p:nvPr/>
        </p:nvCxnSpPr>
        <p:spPr>
          <a:xfrm>
            <a:off x="383054" y="5927557"/>
            <a:ext cx="1114137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D39632E-7548-5D5E-A996-DD0727BA7C52}"/>
              </a:ext>
            </a:extLst>
          </p:cNvPr>
          <p:cNvSpPr/>
          <p:nvPr/>
        </p:nvSpPr>
        <p:spPr>
          <a:xfrm>
            <a:off x="383060" y="4647861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Build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68D53B-C25F-12CF-BDF6-39879D37A0BB}"/>
              </a:ext>
            </a:extLst>
          </p:cNvPr>
          <p:cNvCxnSpPr>
            <a:cxnSpLocks/>
          </p:cNvCxnSpPr>
          <p:nvPr/>
        </p:nvCxnSpPr>
        <p:spPr>
          <a:xfrm>
            <a:off x="383059" y="5126048"/>
            <a:ext cx="111413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BF58DD2-9709-4DBA-8A27-0744E8AA2BAB}"/>
              </a:ext>
            </a:extLst>
          </p:cNvPr>
          <p:cNvSpPr txBox="1"/>
          <p:nvPr/>
        </p:nvSpPr>
        <p:spPr>
          <a:xfrm>
            <a:off x="4769709" y="1513819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Living/Guest 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Has Kintche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D260D9-8F8B-C95A-A31C-6FA69C5DB2D9}"/>
              </a:ext>
            </a:extLst>
          </p:cNvPr>
          <p:cNvSpPr txBox="1"/>
          <p:nvPr/>
        </p:nvSpPr>
        <p:spPr>
          <a:xfrm>
            <a:off x="6870359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athroo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708F27-6F29-6C34-17EA-98AD773A0892}"/>
              </a:ext>
            </a:extLst>
          </p:cNvPr>
          <p:cNvSpPr txBox="1"/>
          <p:nvPr/>
        </p:nvSpPr>
        <p:spPr>
          <a:xfrm>
            <a:off x="2977980" y="311541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stri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Widt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9D9155A-C984-B541-8DFE-045A39E4262E}"/>
              </a:ext>
            </a:extLst>
          </p:cNvPr>
          <p:cNvSpPr txBox="1"/>
          <p:nvPr/>
        </p:nvSpPr>
        <p:spPr>
          <a:xfrm>
            <a:off x="4893280" y="3081858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Dir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titude &amp; Longitu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D833D7-AA4E-BC88-62FE-2669EECD5BF2}"/>
              </a:ext>
            </a:extLst>
          </p:cNvPr>
          <p:cNvSpPr txBox="1"/>
          <p:nvPr/>
        </p:nvSpPr>
        <p:spPr>
          <a:xfrm>
            <a:off x="2977980" y="387364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Kit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Furnish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2A1D7CD-8027-8A57-F313-58D99C711F6A}"/>
              </a:ext>
            </a:extLst>
          </p:cNvPr>
          <p:cNvSpPr txBox="1"/>
          <p:nvPr/>
        </p:nvSpPr>
        <p:spPr>
          <a:xfrm>
            <a:off x="4893280" y="384009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AC</a:t>
            </a:r>
          </a:p>
          <a:p>
            <a:endParaRPr lang="en-SA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DBBDA71-2CAA-748D-EF4A-46DDFEF6538C}"/>
              </a:ext>
            </a:extLst>
          </p:cNvPr>
          <p:cNvSpPr txBox="1"/>
          <p:nvPr/>
        </p:nvSpPr>
        <p:spPr>
          <a:xfrm>
            <a:off x="2977980" y="543845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I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C1B2660-039C-A2A4-4B37-277DA50CB0BC}"/>
              </a:ext>
            </a:extLst>
          </p:cNvPr>
          <p:cNvSpPr txBox="1"/>
          <p:nvPr/>
        </p:nvSpPr>
        <p:spPr>
          <a:xfrm>
            <a:off x="4893280" y="540490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Type (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Ra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C09BCB-E637-5302-DA91-90B64E184F43}"/>
              </a:ext>
            </a:extLst>
          </p:cNvPr>
          <p:cNvSpPr txBox="1"/>
          <p:nvPr/>
        </p:nvSpPr>
        <p:spPr>
          <a:xfrm>
            <a:off x="2977980" y="468464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partment Flo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E5ACFF0-75BD-C59C-E18D-22DED0AB6A8C}"/>
              </a:ext>
            </a:extLst>
          </p:cNvPr>
          <p:cNvSpPr txBox="1"/>
          <p:nvPr/>
        </p:nvSpPr>
        <p:spPr>
          <a:xfrm>
            <a:off x="2977980" y="2303558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rea (sqr. 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mension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E65FB0-360F-0FA2-5B60-08BE92325E7B}"/>
              </a:ext>
            </a:extLst>
          </p:cNvPr>
          <p:cNvSpPr txBox="1"/>
          <p:nvPr/>
        </p:nvSpPr>
        <p:spPr>
          <a:xfrm>
            <a:off x="4893280" y="2270005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ength:Width Rat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hape Regula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A9E5E5-8C82-B1A4-2535-18D7F746886C}"/>
              </a:ext>
            </a:extLst>
          </p:cNvPr>
          <p:cNvSpPr txBox="1"/>
          <p:nvPr/>
        </p:nvSpPr>
        <p:spPr>
          <a:xfrm>
            <a:off x="6993930" y="5421677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Time on Mar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st Upd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965DCD-6FE0-3413-1DE1-20ACCD6ACF52}"/>
              </a:ext>
            </a:extLst>
          </p:cNvPr>
          <p:cNvSpPr txBox="1"/>
          <p:nvPr/>
        </p:nvSpPr>
        <p:spPr>
          <a:xfrm>
            <a:off x="8909230" y="53881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</p:spTree>
    <p:extLst>
      <p:ext uri="{BB962C8B-B14F-4D97-AF65-F5344CB8AC3E}">
        <p14:creationId xmlns:p14="http://schemas.microsoft.com/office/powerpoint/2010/main" val="3626823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7E844-AC59-4DD4-3882-C700026F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Providing an analytical dashboard can help home buyers to better understand the mark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DF30A4-B7EB-A387-1003-46BB7403F7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A" dirty="0"/>
          </a:p>
        </p:txBody>
      </p:sp>
    </p:spTree>
    <p:extLst>
      <p:ext uri="{BB962C8B-B14F-4D97-AF65-F5344CB8AC3E}">
        <p14:creationId xmlns:p14="http://schemas.microsoft.com/office/powerpoint/2010/main" val="1517208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4</TotalTime>
  <Words>423</Words>
  <Application>Microsoft Macintosh PowerPoint</Application>
  <PresentationFormat>Widescreen</PresentationFormat>
  <Paragraphs>128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Utilizing Data Analytics to Help Home Buyers</vt:lpstr>
      <vt:lpstr>Executive summary</vt:lpstr>
      <vt:lpstr>On average, searching for a home takes more than 100 hours of active work</vt:lpstr>
      <vt:lpstr>Utilizing analytics tools and machine learning reduces search time by up to 50%</vt:lpstr>
      <vt:lpstr>Executive summary</vt:lpstr>
      <vt:lpstr>We gathered data of the majority of apartments currently listed for sale in Riyadh, amounting to 7000+ apartments</vt:lpstr>
      <vt:lpstr>We gathered data of the majority of apartments currently listed for sale in Riyadh, amounting to 7000+ apartments</vt:lpstr>
      <vt:lpstr>We gathered data of the majority of apartments currently listed for sale in Riyadh, amounting to 7000+ apartments</vt:lpstr>
      <vt:lpstr>Providing an analytical dashboard can help home buyers to better understand the market</vt:lpstr>
      <vt:lpstr>We are able to narrow down search results by 90%+ without producing any false negative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salamah, Mohammed</dc:creator>
  <cp:lastModifiedBy>Alsalamah, Mohammed</cp:lastModifiedBy>
  <cp:revision>7</cp:revision>
  <dcterms:created xsi:type="dcterms:W3CDTF">2023-04-13T17:45:27Z</dcterms:created>
  <dcterms:modified xsi:type="dcterms:W3CDTF">2023-04-14T13:06:45Z</dcterms:modified>
</cp:coreProperties>
</file>